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DD1634ED-7AF5-4AA7-BB4A-C6198E5D2709}">
          <p14:sldIdLst>
            <p14:sldId id="2147475173"/>
            <p14:sldId id="2147475174"/>
            <p14:sldId id="2147475175"/>
            <p14:sldId id="2147475176"/>
            <p14:sldId id="2147475177"/>
            <p14:sldId id="2147475178"/>
            <p14:sldId id="2147475179"/>
            <p14:sldId id="2147475180"/>
            <p14:sldId id="2147475181"/>
          </p14:sldIdLst>
        </p14:section>
        <p14:section name="Brackets By Segment" id="{BFFFDFD3-03BC-49E1-B331-4FAEAE6B005D}">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076969744842924</c:v>
                </c:pt>
                <c:pt idx="2">
                  <c:v>0.02115152403258792</c:v>
                </c:pt>
                <c:pt idx="3">
                  <c:v>0.016942902323835555</c:v>
                </c:pt>
                <c:pt idx="4">
                  <c:v>0.033534099157562974</c:v>
                </c:pt>
                <c:pt idx="5">
                  <c:v>0.0181607722478190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5147288752478511</c:v>
                </c:pt>
                <c:pt idx="3">
                  <c:v>0.00266835618906598</c:v>
                </c:pt>
                <c:pt idx="4">
                  <c:v>0.008884536819455514</c:v>
                </c:pt>
                <c:pt idx="5">
                  <c:v>0.00392548720180506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570721289780377</c:v>
                </c:pt>
                <c:pt idx="2">
                  <c:v>0.005422054574246474</c:v>
                </c:pt>
                <c:pt idx="3">
                  <c:v>0.040064222827697143</c:v>
                </c:pt>
                <c:pt idx="4">
                  <c:v>0.07104920208692068</c:v>
                </c:pt>
                <c:pt idx="5">
                  <c:v>0.007470106896522805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615370940712512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9984161452179395</c:v>
                </c:pt>
                <c:pt idx="1">
                  <c:v>0.0030377745991193987</c:v>
                </c:pt>
                <c:pt idx="2">
                  <c:v>0.03176881937360904</c:v>
                </c:pt>
                <c:pt idx="3">
                  <c:v>0.0420185201261644</c:v>
                </c:pt>
                <c:pt idx="4">
                  <c:v>0.12694430591603528</c:v>
                </c:pt>
                <c:pt idx="5">
                  <c:v>0.126575036119116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6636073159418106</c:v>
                </c:pt>
                <c:pt idx="1">
                  <c:v>0.014456575153413137</c:v>
                </c:pt>
                <c:pt idx="2">
                  <c:v>0.04628856099490149</c:v>
                </c:pt>
                <c:pt idx="3">
                  <c:v>0.10646477957840762</c:v>
                </c:pt>
                <c:pt idx="4">
                  <c:v>0.04516550477938406</c:v>
                </c:pt>
                <c:pt idx="5">
                  <c:v>0.002071299977923077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0622270938196315</c:v>
                </c:pt>
                <c:pt idx="3">
                  <c:v>0.027008706829353052</c:v>
                </c:pt>
                <c:pt idx="4">
                  <c:v>0.08650987673438784</c:v>
                </c:pt>
                <c:pt idx="5">
                  <c:v>0.02325723530825983</c:v>
                </c:pt>
                <c:pt idx="6">
                  <c:v>0.000570525823780096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096989721111482</c:v>
                </c:pt>
                <c:pt idx="4">
                  <c:v>0.026643302445351364</c:v>
                </c:pt>
                <c:pt idx="5">
                  <c:v>0.002106591183142190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5231306485278324</c:v>
                </c:pt>
                <c:pt idx="2">
                  <c:v>0.02441702354816065</c:v>
                </c:pt>
                <c:pt idx="3">
                  <c:v>0.01216518722958941</c:v>
                </c:pt>
                <c:pt idx="4">
                  <c:v>0.027929423572822677</c:v>
                </c:pt>
                <c:pt idx="5">
                  <c:v>0.02389621109411509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8123258798760101</c:v>
                </c:pt>
                <c:pt idx="3">
                  <c:v>0.0019586700359540744</c:v>
                </c:pt>
                <c:pt idx="4">
                  <c:v>0.008272223513935096</c:v>
                </c:pt>
                <c:pt idx="5">
                  <c:v>0.005343702205152186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00544542834714</c:v>
                </c:pt>
                <c:pt idx="2">
                  <c:v>0.0061777956607306376</c:v>
                </c:pt>
                <c:pt idx="3">
                  <c:v>0.03132045653779751</c:v>
                </c:pt>
                <c:pt idx="4">
                  <c:v>0.07648025369734593</c:v>
                </c:pt>
                <c:pt idx="5">
                  <c:v>0.00723821219591096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06087397682893296</c:v>
                </c:pt>
                <c:pt idx="5">
                  <c:v>0.000707514839873590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555444775079665</c:v>
                </c:pt>
                <c:pt idx="1">
                  <c:v>0.0009111301190165836</c:v>
                </c:pt>
                <c:pt idx="2">
                  <c:v>0.029634691884615583</c:v>
                </c:pt>
                <c:pt idx="3">
                  <c:v>0.04444380657095802</c:v>
                </c:pt>
                <c:pt idx="4">
                  <c:v>0.14788680239537355</c:v>
                </c:pt>
                <c:pt idx="5">
                  <c:v>0.1188233613904922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1698957053115312</c:v>
                </c:pt>
                <c:pt idx="1">
                  <c:v>0.00961287163573792</c:v>
                </c:pt>
                <c:pt idx="2">
                  <c:v>0.04006531456570371</c:v>
                </c:pt>
                <c:pt idx="3">
                  <c:v>0.10546889278832428</c:v>
                </c:pt>
                <c:pt idx="4">
                  <c:v>0.048722940153501815</c:v>
                </c:pt>
                <c:pt idx="5">
                  <c:v>0.0024577397925069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1467372489502318</c:v>
                </c:pt>
                <c:pt idx="4">
                  <c:v>0.40434163622424507</c:v>
                </c:pt>
                <c:pt idx="5">
                  <c:v>0.1828766147255685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035581424737843</c:v>
                </c:pt>
                <c:pt idx="3">
                  <c:v>0.020398883833112405</c:v>
                </c:pt>
                <c:pt idx="4">
                  <c:v>0.08016605913363453</c:v>
                </c:pt>
                <c:pt idx="5">
                  <c:v>0.02739588891700889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8764979352415567</c:v>
                </c:pt>
                <c:pt idx="4">
                  <c:v>0.023156157271566582</c:v>
                </c:pt>
                <c:pt idx="5">
                  <c:v>0.00306520133553436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8123258798760101</c:v>
                </c:pt>
                <c:pt idx="3">
                  <c:v>0.0019586700359540744</c:v>
                </c:pt>
                <c:pt idx="4">
                  <c:v>0.008880963282224425</c:v>
                </c:pt>
                <c:pt idx="5">
                  <c:v>0.00605121704502577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065229916332547</c:v>
                </c:pt>
                <c:pt idx="2">
                  <c:v>0.01888291794356462</c:v>
                </c:pt>
                <c:pt idx="3">
                  <c:v>0.022729990598996698</c:v>
                </c:pt>
                <c:pt idx="4">
                  <c:v>0.035454032064517825</c:v>
                </c:pt>
                <c:pt idx="5">
                  <c:v>0.01982671530959858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291676615909819</c:v>
                </c:pt>
                <c:pt idx="3">
                  <c:v>0.004299897130109869</c:v>
                </c:pt>
                <c:pt idx="4">
                  <c:v>0.00965042565098886</c:v>
                </c:pt>
                <c:pt idx="5">
                  <c:v>0.004583597138474615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840051088368302</c:v>
                </c:pt>
                <c:pt idx="2">
                  <c:v>0.010143787229315079</c:v>
                </c:pt>
                <c:pt idx="3">
                  <c:v>0.04153035226357623</c:v>
                </c:pt>
                <c:pt idx="4">
                  <c:v>0.07813786497942558</c:v>
                </c:pt>
                <c:pt idx="5">
                  <c:v>0.00705395005872261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41180668034964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25397003031721502</c:v>
                </c:pt>
                <c:pt idx="3">
                  <c:v>0.03979978112678447</c:v>
                </c:pt>
                <c:pt idx="4">
                  <c:v>0.11781566563455122</c:v>
                </c:pt>
                <c:pt idx="5">
                  <c:v>0.121531089064929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1222133820696893</c:v>
                </c:pt>
                <c:pt idx="4">
                  <c:v>0.0007242218445557465</c:v>
                </c:pt>
                <c:pt idx="5">
                  <c:v>0.021727285870610336</c:v>
                </c:pt>
                <c:pt idx="6">
                  <c:v>0.000522390933563658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5876620756682176</c:v>
                </c:pt>
                <c:pt idx="1">
                  <c:v>0.015202591925143588</c:v>
                </c:pt>
                <c:pt idx="2">
                  <c:v>0.05100068720352594</c:v>
                </c:pt>
                <c:pt idx="3">
                  <c:v>0.1067333904388765</c:v>
                </c:pt>
                <c:pt idx="4">
                  <c:v>0.042484931293979525</c:v>
                </c:pt>
                <c:pt idx="5">
                  <c:v>0.00311465779974481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909280795886178</c:v>
                </c:pt>
                <c:pt idx="3">
                  <c:v>0.028202114144318908</c:v>
                </c:pt>
                <c:pt idx="4">
                  <c:v>0.07737691617211437</c:v>
                </c:pt>
                <c:pt idx="5">
                  <c:v>0.01436307160302003</c:v>
                </c:pt>
                <c:pt idx="6">
                  <c:v>0.00396991088286652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3773169069265928</c:v>
                </c:pt>
                <c:pt idx="4">
                  <c:v>0.025273393909855817</c:v>
                </c:pt>
                <c:pt idx="5">
                  <c:v>0.00248870237924514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076969744842924</c:v>
                </c:pt>
                <c:pt idx="2">
                  <c:v>0.02115152403258792</c:v>
                </c:pt>
                <c:pt idx="3">
                  <c:v>0.016942902323835555</c:v>
                </c:pt>
                <c:pt idx="4">
                  <c:v>0.033534099157562974</c:v>
                </c:pt>
                <c:pt idx="5">
                  <c:v>0.0181607722478190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8284955656441361</c:v>
                </c:pt>
                <c:pt idx="2">
                  <c:v>0.005847414793852957</c:v>
                </c:pt>
                <c:pt idx="3">
                  <c:v>0.004309183508410163</c:v>
                </c:pt>
                <c:pt idx="4">
                  <c:v>0.006619122337927038</c:v>
                </c:pt>
                <c:pt idx="5">
                  <c:v>0.001254258806414683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570721289780377</c:v>
                </c:pt>
                <c:pt idx="2">
                  <c:v>0.005422054574246474</c:v>
                </c:pt>
                <c:pt idx="3">
                  <c:v>0.040064222827697143</c:v>
                </c:pt>
                <c:pt idx="4">
                  <c:v>0.07104920208692068</c:v>
                </c:pt>
                <c:pt idx="5">
                  <c:v>0.007470106896522805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9984161452179395</c:v>
                </c:pt>
                <c:pt idx="1">
                  <c:v>0.0030377745991193987</c:v>
                </c:pt>
                <c:pt idx="2">
                  <c:v>0.03176881937360904</c:v>
                </c:pt>
                <c:pt idx="3">
                  <c:v>0.0420185201261644</c:v>
                </c:pt>
                <c:pt idx="4">
                  <c:v>0.12694430591603528</c:v>
                </c:pt>
                <c:pt idx="5">
                  <c:v>0.126575036119116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6636073159418106</c:v>
                </c:pt>
                <c:pt idx="1">
                  <c:v>0.014456575153413137</c:v>
                </c:pt>
                <c:pt idx="2">
                  <c:v>0.04628856099490149</c:v>
                </c:pt>
                <c:pt idx="3">
                  <c:v>0.10646477957840762</c:v>
                </c:pt>
                <c:pt idx="4">
                  <c:v>0.04516550477938406</c:v>
                </c:pt>
                <c:pt idx="5">
                  <c:v>0.002071299977923077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0622270938196315</c:v>
                </c:pt>
                <c:pt idx="3">
                  <c:v>0.027008706829353052</c:v>
                </c:pt>
                <c:pt idx="4">
                  <c:v>0.08650987673438784</c:v>
                </c:pt>
                <c:pt idx="5">
                  <c:v>0.02325723530825983</c:v>
                </c:pt>
                <c:pt idx="6">
                  <c:v>0.000570525823780096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096989721111482</c:v>
                </c:pt>
                <c:pt idx="4">
                  <c:v>0.026643302445351364</c:v>
                </c:pt>
                <c:pt idx="5">
                  <c:v>0.002106591183142190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5231306485278324</c:v>
                </c:pt>
                <c:pt idx="2">
                  <c:v>0.02441702354816065</c:v>
                </c:pt>
                <c:pt idx="3">
                  <c:v>0.01216518722958941</c:v>
                </c:pt>
                <c:pt idx="4">
                  <c:v>0.027929423572822677</c:v>
                </c:pt>
                <c:pt idx="5">
                  <c:v>0.02389621109411509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611683486752821</c:v>
                </c:pt>
                <c:pt idx="2">
                  <c:v>0.008070268211894027</c:v>
                </c:pt>
                <c:pt idx="3">
                  <c:v>0.0008946847644719398</c:v>
                </c:pt>
                <c:pt idx="4">
                  <c:v>0.008742820588310812</c:v>
                </c:pt>
                <c:pt idx="5">
                  <c:v>0.001563981526882625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00544542834714</c:v>
                </c:pt>
                <c:pt idx="2">
                  <c:v>0.0061777956607306376</c:v>
                </c:pt>
                <c:pt idx="3">
                  <c:v>0.03132045653779751</c:v>
                </c:pt>
                <c:pt idx="4">
                  <c:v>0.07648025369734593</c:v>
                </c:pt>
                <c:pt idx="5">
                  <c:v>0.00723821219591096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555444775079665</c:v>
                </c:pt>
                <c:pt idx="1">
                  <c:v>0.0009111301190165836</c:v>
                </c:pt>
                <c:pt idx="2">
                  <c:v>0.029634691884615583</c:v>
                </c:pt>
                <c:pt idx="3">
                  <c:v>0.04444380657095802</c:v>
                </c:pt>
                <c:pt idx="4">
                  <c:v>0.14788680239537355</c:v>
                </c:pt>
                <c:pt idx="5">
                  <c:v>0.1188233613904922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1698957053115312</c:v>
                </c:pt>
                <c:pt idx="1">
                  <c:v>0.00961287163573792</c:v>
                </c:pt>
                <c:pt idx="2">
                  <c:v>0.04006531456570371</c:v>
                </c:pt>
                <c:pt idx="3">
                  <c:v>0.10546889278832428</c:v>
                </c:pt>
                <c:pt idx="4">
                  <c:v>0.048722940153501815</c:v>
                </c:pt>
                <c:pt idx="5">
                  <c:v>0.0024577397925069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035581424737843</c:v>
                </c:pt>
                <c:pt idx="3">
                  <c:v>0.020398883833112405</c:v>
                </c:pt>
                <c:pt idx="4">
                  <c:v>0.08016605913363453</c:v>
                </c:pt>
                <c:pt idx="5">
                  <c:v>0.02739588891700889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065088165930274</c:v>
                </c:pt>
                <c:pt idx="1">
                  <c:v>0.03348789150832708</c:v>
                </c:pt>
                <c:pt idx="2">
                  <c:v>0.11541981346610525</c:v>
                </c:pt>
                <c:pt idx="3">
                  <c:v>0.23350883065756892</c:v>
                </c:pt>
                <c:pt idx="4">
                  <c:v>0.38984629111964225</c:v>
                </c:pt>
                <c:pt idx="5">
                  <c:v>0.17964104173278342</c:v>
                </c:pt>
                <c:pt idx="6">
                  <c:v>0.000619013433927710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8764979352415567</c:v>
                </c:pt>
                <c:pt idx="4">
                  <c:v>0.023156157271566582</c:v>
                </c:pt>
                <c:pt idx="5">
                  <c:v>0.00306520133553436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065229916332547</c:v>
                </c:pt>
                <c:pt idx="2">
                  <c:v>0.01888291794356462</c:v>
                </c:pt>
                <c:pt idx="3">
                  <c:v>0.022729990598996698</c:v>
                </c:pt>
                <c:pt idx="4">
                  <c:v>0.035454032064517825</c:v>
                </c:pt>
                <c:pt idx="5">
                  <c:v>0.01982671530959858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065229916332547</c:v>
                </c:pt>
                <c:pt idx="2">
                  <c:v>0.007960934501247807</c:v>
                </c:pt>
                <c:pt idx="3">
                  <c:v>0.0030146749635464654</c:v>
                </c:pt>
                <c:pt idx="4">
                  <c:v>0.01004452642804176</c:v>
                </c:pt>
                <c:pt idx="5">
                  <c:v>0.000634223534716438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840051088368302</c:v>
                </c:pt>
                <c:pt idx="2">
                  <c:v>0.010143787229315079</c:v>
                </c:pt>
                <c:pt idx="3">
                  <c:v>0.04153035226357623</c:v>
                </c:pt>
                <c:pt idx="4">
                  <c:v>0.07813786497942558</c:v>
                </c:pt>
                <c:pt idx="5">
                  <c:v>0.00705395005872261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25397003031721502</c:v>
                </c:pt>
                <c:pt idx="3">
                  <c:v>0.03979978112678447</c:v>
                </c:pt>
                <c:pt idx="4">
                  <c:v>0.11781566563455122</c:v>
                </c:pt>
                <c:pt idx="5">
                  <c:v>0.121531089064929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5876620756682176</c:v>
                </c:pt>
                <c:pt idx="1">
                  <c:v>0.015202591925143588</c:v>
                </c:pt>
                <c:pt idx="2">
                  <c:v>0.05100068720352594</c:v>
                </c:pt>
                <c:pt idx="3">
                  <c:v>0.1067333904388765</c:v>
                </c:pt>
                <c:pt idx="4">
                  <c:v>0.042484931293979525</c:v>
                </c:pt>
                <c:pt idx="5">
                  <c:v>0.00311465779974481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909280795886178</c:v>
                </c:pt>
                <c:pt idx="3">
                  <c:v>0.028202114144318908</c:v>
                </c:pt>
                <c:pt idx="4">
                  <c:v>0.07737691617211437</c:v>
                </c:pt>
                <c:pt idx="5">
                  <c:v>0.01436307160302003</c:v>
                </c:pt>
                <c:pt idx="6">
                  <c:v>0.00396991088286652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3773169069265928</c:v>
                </c:pt>
                <c:pt idx="4">
                  <c:v>0.025273393909855817</c:v>
                </c:pt>
                <c:pt idx="5">
                  <c:v>0.00248870237924514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076969744842924</c:v>
                </c:pt>
                <c:pt idx="2">
                  <c:v>0.02115152403258792</c:v>
                </c:pt>
                <c:pt idx="3">
                  <c:v>0.016942902323835555</c:v>
                </c:pt>
                <c:pt idx="4">
                  <c:v>0.033534099157562974</c:v>
                </c:pt>
                <c:pt idx="5">
                  <c:v>0.0181607722478190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570721289780377</c:v>
                </c:pt>
                <c:pt idx="2">
                  <c:v>0.005422054574246474</c:v>
                </c:pt>
                <c:pt idx="3">
                  <c:v>0.040064222827697143</c:v>
                </c:pt>
                <c:pt idx="4">
                  <c:v>0.07104920208692068</c:v>
                </c:pt>
                <c:pt idx="5">
                  <c:v>0.007470106896522805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414783924569317</c:v>
                </c:pt>
                <c:pt idx="4">
                  <c:v>0.007739751450815311</c:v>
                </c:pt>
                <c:pt idx="5">
                  <c:v>0.001836168249164434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9984161452179395</c:v>
                </c:pt>
                <c:pt idx="1">
                  <c:v>0.0030377745991193987</c:v>
                </c:pt>
                <c:pt idx="2">
                  <c:v>0.03176881937360904</c:v>
                </c:pt>
                <c:pt idx="3">
                  <c:v>0.0420185201261644</c:v>
                </c:pt>
                <c:pt idx="4">
                  <c:v>0.12694430591603528</c:v>
                </c:pt>
                <c:pt idx="5">
                  <c:v>0.126575036119116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347116507795510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6636073159418106</c:v>
                </c:pt>
                <c:pt idx="1">
                  <c:v>0.014456575153413137</c:v>
                </c:pt>
                <c:pt idx="2">
                  <c:v>0.04628856099490149</c:v>
                </c:pt>
                <c:pt idx="3">
                  <c:v>0.10646477957840762</c:v>
                </c:pt>
                <c:pt idx="4">
                  <c:v>0.04516550477938406</c:v>
                </c:pt>
                <c:pt idx="5">
                  <c:v>0.002071299977923077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403729454794794</c:v>
                </c:pt>
                <c:pt idx="4">
                  <c:v>0.37654280405444435</c:v>
                </c:pt>
                <c:pt idx="5">
                  <c:v>0.168378186215261</c:v>
                </c:pt>
                <c:pt idx="6">
                  <c:v>0.00401563252300674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0622270938196315</c:v>
                </c:pt>
                <c:pt idx="3">
                  <c:v>0.027008706829353052</c:v>
                </c:pt>
                <c:pt idx="4">
                  <c:v>0.08650987673438784</c:v>
                </c:pt>
                <c:pt idx="5">
                  <c:v>0.02325723530825983</c:v>
                </c:pt>
                <c:pt idx="6">
                  <c:v>0.000570525823780096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096989721111482</c:v>
                </c:pt>
                <c:pt idx="4">
                  <c:v>0.026643302445351364</c:v>
                </c:pt>
                <c:pt idx="5">
                  <c:v>0.002106591183142190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291676615909819</c:v>
                </c:pt>
                <c:pt idx="3">
                  <c:v>0.004299897130109869</c:v>
                </c:pt>
                <c:pt idx="4">
                  <c:v>0.009654437559331727</c:v>
                </c:pt>
                <c:pt idx="5">
                  <c:v>0.0055247778065095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5231306485278324</c:v>
                </c:pt>
                <c:pt idx="2">
                  <c:v>0.02441702354816065</c:v>
                </c:pt>
                <c:pt idx="3">
                  <c:v>0.01216518722958941</c:v>
                </c:pt>
                <c:pt idx="4">
                  <c:v>0.027929423572822677</c:v>
                </c:pt>
                <c:pt idx="5">
                  <c:v>0.02389621109411509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00544542834714</c:v>
                </c:pt>
                <c:pt idx="2">
                  <c:v>0.0061777956607306376</c:v>
                </c:pt>
                <c:pt idx="3">
                  <c:v>0.03132045653779751</c:v>
                </c:pt>
                <c:pt idx="4">
                  <c:v>0.07648025369734593</c:v>
                </c:pt>
                <c:pt idx="5">
                  <c:v>0.00723821219591096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3569573067529505</c:v>
                </c:pt>
                <c:pt idx="4">
                  <c:v>0.008724749571436376</c:v>
                </c:pt>
                <c:pt idx="5">
                  <c:v>0.001940320211556060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555444775079665</c:v>
                </c:pt>
                <c:pt idx="1">
                  <c:v>0.0009111301190165836</c:v>
                </c:pt>
                <c:pt idx="2">
                  <c:v>0.029634691884615583</c:v>
                </c:pt>
                <c:pt idx="3">
                  <c:v>0.04444380657095802</c:v>
                </c:pt>
                <c:pt idx="4">
                  <c:v>0.14788680239537355</c:v>
                </c:pt>
                <c:pt idx="5">
                  <c:v>0.1188233613904922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6971701486049937</c:v>
                </c:pt>
                <c:pt idx="4">
                  <c:v>0.00139003666504207</c:v>
                </c:pt>
                <c:pt idx="5">
                  <c:v>0.02602431566072688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553042603771280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1698957053115312</c:v>
                </c:pt>
                <c:pt idx="1">
                  <c:v>0.00961287163573792</c:v>
                </c:pt>
                <c:pt idx="2">
                  <c:v>0.04006531456570371</c:v>
                </c:pt>
                <c:pt idx="3">
                  <c:v>0.10546889278832428</c:v>
                </c:pt>
                <c:pt idx="4">
                  <c:v>0.048722940153501815</c:v>
                </c:pt>
                <c:pt idx="5">
                  <c:v>0.0024577397925069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035581424737843</c:v>
                </c:pt>
                <c:pt idx="3">
                  <c:v>0.020398883833112405</c:v>
                </c:pt>
                <c:pt idx="4">
                  <c:v>0.08016605913363453</c:v>
                </c:pt>
                <c:pt idx="5">
                  <c:v>0.02739588891700889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8764979352415567</c:v>
                </c:pt>
                <c:pt idx="4">
                  <c:v>0.023156157271566582</c:v>
                </c:pt>
                <c:pt idx="5">
                  <c:v>0.00306520133553436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065229916332547</c:v>
                </c:pt>
                <c:pt idx="2">
                  <c:v>0.01888291794356462</c:v>
                </c:pt>
                <c:pt idx="3">
                  <c:v>0.022729990598996698</c:v>
                </c:pt>
                <c:pt idx="4">
                  <c:v>0.035454032064517825</c:v>
                </c:pt>
                <c:pt idx="5">
                  <c:v>0.01982671530959858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840051088368302</c:v>
                </c:pt>
                <c:pt idx="2">
                  <c:v>0.010143787229315079</c:v>
                </c:pt>
                <c:pt idx="3">
                  <c:v>0.04153035226357623</c:v>
                </c:pt>
                <c:pt idx="4">
                  <c:v>0.07813786497942558</c:v>
                </c:pt>
                <c:pt idx="5">
                  <c:v>0.00705395005872261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761945193792437</c:v>
                </c:pt>
                <c:pt idx="4">
                  <c:v>0.010976288069047125</c:v>
                </c:pt>
                <c:pt idx="5">
                  <c:v>0.003093409343379484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25397003031721502</c:v>
                </c:pt>
                <c:pt idx="3">
                  <c:v>0.03979978112678447</c:v>
                </c:pt>
                <c:pt idx="4">
                  <c:v>0.11781566563455122</c:v>
                </c:pt>
                <c:pt idx="5">
                  <c:v>0.121531089064929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419179818704739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5876620756682176</c:v>
                </c:pt>
                <c:pt idx="1">
                  <c:v>0.015202591925143588</c:v>
                </c:pt>
                <c:pt idx="2">
                  <c:v>0.05100068720352594</c:v>
                </c:pt>
                <c:pt idx="3">
                  <c:v>0.1067333904388765</c:v>
                </c:pt>
                <c:pt idx="4">
                  <c:v>0.042484931293979525</c:v>
                </c:pt>
                <c:pt idx="5">
                  <c:v>0.00311465779974481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909280795886178</c:v>
                </c:pt>
                <c:pt idx="3">
                  <c:v>0.028202114144318908</c:v>
                </c:pt>
                <c:pt idx="4">
                  <c:v>0.07737691617211437</c:v>
                </c:pt>
                <c:pt idx="5">
                  <c:v>0.01436307160302003</c:v>
                </c:pt>
                <c:pt idx="6">
                  <c:v>0.00396991088286652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3773169069265928</c:v>
                </c:pt>
                <c:pt idx="4">
                  <c:v>0.025273393909855817</c:v>
                </c:pt>
                <c:pt idx="5">
                  <c:v>0.00248870237924514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5147288752478511</c:v>
                </c:pt>
                <c:pt idx="3">
                  <c:v>0.00266835618906598</c:v>
                </c:pt>
                <c:pt idx="4">
                  <c:v>0.009195002164708484</c:v>
                </c:pt>
                <c:pt idx="5">
                  <c:v>0.00454085814251758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065088165930274</c:v>
                </c:pt>
                <c:pt idx="1">
                  <c:v>0.03348789150832708</c:v>
                </c:pt>
                <c:pt idx="2">
                  <c:v>0.11541981346610525</c:v>
                </c:pt>
                <c:pt idx="3">
                  <c:v>0.23350883065756892</c:v>
                </c:pt>
                <c:pt idx="4">
                  <c:v>0.38984629111964225</c:v>
                </c:pt>
                <c:pt idx="5">
                  <c:v>0.17964104173278342</c:v>
                </c:pt>
                <c:pt idx="6">
                  <c:v>0.000619013433927710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8284955656441361</c:v>
                </c:pt>
                <c:pt idx="2">
                  <c:v>0.005847414793852957</c:v>
                </c:pt>
                <c:pt idx="3">
                  <c:v>0.004309183508410163</c:v>
                </c:pt>
                <c:pt idx="4">
                  <c:v>0.006619122337927038</c:v>
                </c:pt>
                <c:pt idx="5">
                  <c:v>0.001254258806414683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9553750379766335</c:v>
                </c:pt>
                <c:pt idx="4">
                  <c:v>0.000901078956297813</c:v>
                </c:pt>
                <c:pt idx="5">
                  <c:v>0.01961956466285095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9553750379766335</c:v>
                </c:pt>
                <c:pt idx="4">
                  <c:v>0.000901078956297813</c:v>
                </c:pt>
                <c:pt idx="5">
                  <c:v>0.01961956466285095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1467372489502318</c:v>
                </c:pt>
                <c:pt idx="4">
                  <c:v>0.40434163622424507</c:v>
                </c:pt>
                <c:pt idx="5">
                  <c:v>0.1828766147255685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611683486752821</c:v>
                </c:pt>
                <c:pt idx="2">
                  <c:v>0.008070268211894027</c:v>
                </c:pt>
                <c:pt idx="3">
                  <c:v>0.0008946847644719398</c:v>
                </c:pt>
                <c:pt idx="4">
                  <c:v>0.008742820588310812</c:v>
                </c:pt>
                <c:pt idx="5">
                  <c:v>0.001563981526882625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1222133820696893</c:v>
                </c:pt>
                <c:pt idx="4">
                  <c:v>0.0007242218445557465</c:v>
                </c:pt>
                <c:pt idx="5">
                  <c:v>0.021727285870610336</c:v>
                </c:pt>
                <c:pt idx="6">
                  <c:v>0.000522390933563658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403729454794794</c:v>
                </c:pt>
                <c:pt idx="4">
                  <c:v>0.37654280405444435</c:v>
                </c:pt>
                <c:pt idx="5">
                  <c:v>0.168378186215261</c:v>
                </c:pt>
                <c:pt idx="6">
                  <c:v>0.00401563252300674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065229916332547</c:v>
                </c:pt>
                <c:pt idx="2">
                  <c:v>0.007960934501247807</c:v>
                </c:pt>
                <c:pt idx="3">
                  <c:v>0.0030146749635464654</c:v>
                </c:pt>
                <c:pt idx="4">
                  <c:v>0.01004452642804176</c:v>
                </c:pt>
                <c:pt idx="5">
                  <c:v>0.000634223534716438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6971701486049937</c:v>
                </c:pt>
                <c:pt idx="4">
                  <c:v>0.00139003666504207</c:v>
                </c:pt>
                <c:pt idx="5">
                  <c:v>0.02602431566072688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065088165930274</c:v>
                </c:pt>
                <c:pt idx="1">
                  <c:v>0.03348789150832708</c:v>
                </c:pt>
                <c:pt idx="2">
                  <c:v>0.11541981346610525</c:v>
                </c:pt>
                <c:pt idx="3">
                  <c:v>0.23350883065756892</c:v>
                </c:pt>
                <c:pt idx="4">
                  <c:v>0.38984629111964225</c:v>
                </c:pt>
                <c:pt idx="5">
                  <c:v>0.17964104173278342</c:v>
                </c:pt>
                <c:pt idx="6">
                  <c:v>0.000619013433927710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414783924569317</c:v>
                </c:pt>
                <c:pt idx="4">
                  <c:v>0.007739751450815311</c:v>
                </c:pt>
                <c:pt idx="5">
                  <c:v>0.00530733332711953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9553750379766335</c:v>
                </c:pt>
                <c:pt idx="4">
                  <c:v>0.000901078956297813</c:v>
                </c:pt>
                <c:pt idx="5">
                  <c:v>0.01961956466285095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3550999759585883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1467372489502318</c:v>
                </c:pt>
                <c:pt idx="4">
                  <c:v>0.40434163622424507</c:v>
                </c:pt>
                <c:pt idx="5">
                  <c:v>0.1828766147255685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3569573067529505</c:v>
                </c:pt>
                <c:pt idx="4">
                  <c:v>0.008724749571436376</c:v>
                </c:pt>
                <c:pt idx="5">
                  <c:v>0.0074707462492688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1222133820696893</c:v>
                </c:pt>
                <c:pt idx="4">
                  <c:v>0.0007242218445557465</c:v>
                </c:pt>
                <c:pt idx="5">
                  <c:v>0.021727285870610336</c:v>
                </c:pt>
                <c:pt idx="6">
                  <c:v>0.000522390933563658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4420977982501233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403729454794794</c:v>
                </c:pt>
                <c:pt idx="4">
                  <c:v>0.37654280405444435</c:v>
                </c:pt>
                <c:pt idx="5">
                  <c:v>0.168378186215261</c:v>
                </c:pt>
                <c:pt idx="6">
                  <c:v>0.00401563252300674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761945193792437</c:v>
                </c:pt>
                <c:pt idx="4">
                  <c:v>0.010976288069047125</c:v>
                </c:pt>
                <c:pt idx="5">
                  <c:v>0.00728520753042687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6971701486049937</c:v>
                </c:pt>
                <c:pt idx="4">
                  <c:v>0.00139003666504207</c:v>
                </c:pt>
                <c:pt idx="5">
                  <c:v>0.02602431566072688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6395519353098401</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9227939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1218466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792657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0400455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1031434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8060457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6206787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3496493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6869900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2325597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5368514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0266441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40774415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455822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5453452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1345683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5594656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4900509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05138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710617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8302232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366333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0899384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0952258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5006929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40019756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4721974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3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